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53"/>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46" r:id="rId27"/>
    <p:sldId id="331" r:id="rId28"/>
    <p:sldId id="347" r:id="rId29"/>
    <p:sldId id="333" r:id="rId30"/>
    <p:sldId id="348" r:id="rId31"/>
    <p:sldId id="358" r:id="rId32"/>
    <p:sldId id="334" r:id="rId33"/>
    <p:sldId id="349" r:id="rId34"/>
    <p:sldId id="335" r:id="rId35"/>
    <p:sldId id="350" r:id="rId36"/>
    <p:sldId id="336" r:id="rId37"/>
    <p:sldId id="351" r:id="rId38"/>
    <p:sldId id="352" r:id="rId39"/>
    <p:sldId id="353" r:id="rId40"/>
    <p:sldId id="359" r:id="rId41"/>
    <p:sldId id="355" r:id="rId42"/>
    <p:sldId id="287" r:id="rId43"/>
    <p:sldId id="288" r:id="rId44"/>
    <p:sldId id="289" r:id="rId45"/>
    <p:sldId id="290" r:id="rId46"/>
    <p:sldId id="291" r:id="rId47"/>
    <p:sldId id="292" r:id="rId48"/>
    <p:sldId id="293" r:id="rId49"/>
    <p:sldId id="295" r:id="rId50"/>
    <p:sldId id="294" r:id="rId51"/>
    <p:sldId id="296" r:id="rId52"/>
  </p:sldIdLst>
  <p:sldSz cx="9144000" cy="5143500" type="screen16x9"/>
  <p:notesSz cx="7315200" cy="9601200"/>
  <p:embeddedFontLst>
    <p:embeddedFont>
      <p:font typeface="Calibri" panose="020F0502020204030204" pitchFamily="34" charset="0"/>
      <p:regular r:id="rId54"/>
      <p:bold r:id="rId55"/>
      <p:italic r:id="rId56"/>
      <p:boldItalic r:id="rId57"/>
    </p:embeddedFont>
    <p:embeddedFont>
      <p:font typeface="Maven Pro" pitchFamily="2" charset="77"/>
      <p:regular r:id="rId58"/>
      <p:bold r:id="rId59"/>
    </p:embeddedFont>
    <p:embeddedFont>
      <p:font typeface="Nunito" pitchFamily="2" charset="77"/>
      <p:regular r:id="rId60"/>
      <p:bold r:id="rId61"/>
      <p:italic r:id="rId62"/>
      <p:boldItalic r:id="rId63"/>
    </p:embeddedFont>
    <p:embeddedFont>
      <p:font typeface="Tw Cen MT Condensed" panose="020B0606020104020203" pitchFamily="34" charset="77"/>
      <p:regular r:id="rId64"/>
      <p:bold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02" autoAdjust="0"/>
    <p:restoredTop sz="95246"/>
  </p:normalViewPr>
  <p:slideViewPr>
    <p:cSldViewPr snapToGrid="0" snapToObjects="1">
      <p:cViewPr>
        <p:scale>
          <a:sx n="148" d="100"/>
          <a:sy n="148" d="100"/>
        </p:scale>
        <p:origin x="304" y="-264"/>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0.fntdata"/><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font" Target="fonts/font8.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6.fntdata"/><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7.fntdata"/><Relationship Id="rId65"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font" Target="fonts/font2.fntdata"/></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48157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19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6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9"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7.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9.emf"/><Relationship Id="rId5" Type="http://schemas.openxmlformats.org/officeDocument/2006/relationships/oleObject" Target="../embeddings/oleObject38.bin"/><Relationship Id="rId10" Type="http://schemas.openxmlformats.org/officeDocument/2006/relationships/image" Target="../media/image61.PNG"/><Relationship Id="rId4" Type="http://schemas.openxmlformats.org/officeDocument/2006/relationships/notesSlide" Target="../notesSlides/notesSlide27.xml"/><Relationship Id="rId9" Type="http://schemas.openxmlformats.org/officeDocument/2006/relationships/image" Target="../media/image54.PNG"/></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0.xml"/><Relationship Id="rId7" Type="http://schemas.openxmlformats.org/officeDocument/2006/relationships/image" Target="../media/image63.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2.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5.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8.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0.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1.emf"/><Relationship Id="rId5" Type="http://schemas.openxmlformats.org/officeDocument/2006/relationships/oleObject" Target="../embeddings/oleObject43.bin"/><Relationship Id="rId4" Type="http://schemas.openxmlformats.org/officeDocument/2006/relationships/notesSlide" Target="../notesSlides/notesSlide32.xml"/><Relationship Id="rId9"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3.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2.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6.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4.emf"/><Relationship Id="rId11" Type="http://schemas.openxmlformats.org/officeDocument/2006/relationships/image" Target="../media/image55.PNG"/><Relationship Id="rId5" Type="http://schemas.openxmlformats.org/officeDocument/2006/relationships/oleObject" Target="../embeddings/oleObject45.bin"/><Relationship Id="rId10" Type="http://schemas.openxmlformats.org/officeDocument/2006/relationships/image" Target="../media/image75.PNG"/><Relationship Id="rId4" Type="http://schemas.openxmlformats.org/officeDocument/2006/relationships/notesSlide" Target="../notesSlides/notesSlide34.xml"/><Relationship Id="rId9"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7.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0.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9.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81.emf"/><Relationship Id="rId5" Type="http://schemas.openxmlformats.org/officeDocument/2006/relationships/oleObject" Target="../embeddings/oleObject4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4.tif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3.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8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87.emf"/><Relationship Id="rId5" Type="http://schemas.openxmlformats.org/officeDocument/2006/relationships/oleObject" Target="../embeddings/oleObject51.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0.xml"/><Relationship Id="rId7" Type="http://schemas.openxmlformats.org/officeDocument/2006/relationships/image" Target="../media/image89.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88.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91.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92.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93.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94.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95.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96.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97.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9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9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00.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drag and drop </a:t>
            </a:r>
            <a:r>
              <a:rPr lang="en-US" sz="1600" b="1" dirty="0">
                <a:latin typeface="Maven Pro" pitchFamily="2" charset="77"/>
              </a:rPr>
              <a:t>Order ID (Returns)</a:t>
            </a:r>
            <a:r>
              <a:rPr lang="en-US" sz="1600" dirty="0">
                <a:latin typeface="Maven Pro" pitchFamily="2" charset="77"/>
              </a:rPr>
              <a:t> to </a:t>
            </a:r>
            <a:r>
              <a:rPr lang="en-US" sz="1600" b="1" dirty="0">
                <a:latin typeface="Maven Pro" pitchFamily="2" charset="77"/>
              </a:rPr>
              <a:t>Text </a:t>
            </a:r>
            <a:r>
              <a:rPr lang="en-US" sz="1600" dirty="0">
                <a:latin typeface="Maven Pro" pitchFamily="2" charset="77"/>
              </a:rPr>
              <a:t>on Marks card and change to </a:t>
            </a:r>
            <a:r>
              <a:rPr lang="en-US" sz="1600" b="1" dirty="0">
                <a:latin typeface="Maven Pro" pitchFamily="2" charset="77"/>
              </a:rPr>
              <a:t>Count </a:t>
            </a:r>
            <a:r>
              <a:rPr lang="en-US" sz="1600" dirty="0">
                <a:latin typeface="Maven Pro" pitchFamily="2" charset="77"/>
              </a:rPr>
              <a:t>type within Measure. Lastly,</a:t>
            </a:r>
            <a:r>
              <a:rPr lang="en-US" sz="1600" dirty="0"/>
              <a:t> </a:t>
            </a:r>
            <a:r>
              <a:rPr lang="en-US" sz="1600" dirty="0">
                <a:latin typeface="Maven Pro" pitchFamily="2" charset="77"/>
              </a:rPr>
              <a:t>go to</a:t>
            </a:r>
            <a:br>
              <a:rPr lang="en-US" sz="1600" dirty="0">
                <a:latin typeface="Maven Pro" pitchFamily="2" charset="77"/>
              </a:rPr>
            </a:b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7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latin typeface="Maven Pro" pitchFamily="2" charset="77"/>
              </a:rPr>
              <a:t>Want to see profit over time, l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87028"/>
            <a:ext cx="9032488" cy="3416400"/>
          </a:xfrm>
        </p:spPr>
        <p:txBody>
          <a:bodyPr/>
          <a:lstStyle/>
          <a:p>
            <a:r>
              <a:rPr lang="en-US" sz="1600" dirty="0">
                <a:latin typeface="Maven Pro" pitchFamily="2" charset="77"/>
              </a:rPr>
              <a:t>Suppose want to see which region has the highest or lowest profitability, 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lnSpcReduction="10000"/>
          </a:bodyPr>
          <a:lstStyle/>
          <a:p>
            <a:r>
              <a:rPr lang="en-US" sz="2100" dirty="0">
                <a:latin typeface="Maven Pro" pitchFamily="2" charset="77"/>
              </a:rPr>
              <a:t>Pie chart: commonly used to show parts of a whole</a:t>
            </a:r>
          </a:p>
          <a:p>
            <a:pPr marL="114300" indent="0">
              <a:buNone/>
            </a:pPr>
            <a:r>
              <a:rPr lang="en-US" sz="2100" dirty="0">
                <a:latin typeface="Maven Pro" pitchFamily="2" charset="77"/>
              </a:rPr>
              <a:t>However…</a:t>
            </a: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 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42422" y="1602752"/>
            <a:ext cx="5963698" cy="3537209"/>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1</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Line 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line distribution to show quarterly sales trend from 2014 to 2017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extLst>
              <p:ext uri="{D42A27DB-BD31-4B8C-83A1-F6EECF244321}">
                <p14:modId xmlns:p14="http://schemas.microsoft.com/office/powerpoint/2010/main" val="520187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1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scatter plot comparing Sales to Profit by dragging </a:t>
            </a:r>
            <a:r>
              <a:rPr lang="en-US" sz="1300" b="1" dirty="0">
                <a:latin typeface="Maven Pro" pitchFamily="2" charset="77"/>
              </a:rPr>
              <a:t>Profit</a:t>
            </a:r>
            <a:r>
              <a:rPr lang="en-US" sz="1300" dirty="0">
                <a:latin typeface="Maven Pro" pitchFamily="2" charset="77"/>
              </a:rPr>
              <a:t> 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r>
              <a:rPr lang="en-US" sz="1300" dirty="0">
                <a:latin typeface="Maven Pro" pitchFamily="2" charset="77"/>
              </a:rPr>
              <a:t>.  </a:t>
            </a: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 </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Chart, line chart&#10;&#10;Description automatically generated">
            <a:extLst>
              <a:ext uri="{FF2B5EF4-FFF2-40B4-BE49-F238E27FC236}">
                <a16:creationId xmlns:a16="http://schemas.microsoft.com/office/drawing/2014/main" id="{DC628043-1B9B-3049-B2C4-C42DC8C35A75}"/>
              </a:ext>
            </a:extLst>
          </p:cNvPr>
          <p:cNvPicPr>
            <a:picLocks noChangeAspect="1"/>
          </p:cNvPicPr>
          <p:nvPr/>
        </p:nvPicPr>
        <p:blipFill>
          <a:blip r:embed="rId7"/>
          <a:stretch>
            <a:fillRect/>
          </a:stretch>
        </p:blipFill>
        <p:spPr>
          <a:xfrm>
            <a:off x="1175067" y="1156489"/>
            <a:ext cx="6793866" cy="3987011"/>
          </a:xfrm>
          <a:prstGeom prst="rect">
            <a:avLst/>
          </a:prstGeom>
        </p:spPr>
      </p:pic>
    </p:spTree>
    <p:extLst>
      <p:ext uri="{BB962C8B-B14F-4D97-AF65-F5344CB8AC3E}">
        <p14:creationId xmlns:p14="http://schemas.microsoft.com/office/powerpoint/2010/main" val="2253523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06214"/>
            <a:ext cx="9032488" cy="3416400"/>
          </a:xfrm>
        </p:spPr>
        <p:txBody>
          <a:bodyPr/>
          <a:lstStyle/>
          <a:p>
            <a:r>
              <a:rPr lang="en-US" sz="1300" dirty="0">
                <a:latin typeface="Maven Pro" pitchFamily="2" charset="77"/>
              </a:rPr>
              <a:t>Create map by drag and drop “</a:t>
            </a:r>
            <a:r>
              <a:rPr lang="en-US" sz="1300" b="1" dirty="0">
                <a:latin typeface="Maven Pro" pitchFamily="2" charset="77"/>
              </a:rPr>
              <a:t>Cit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it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it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p>
          <a:p>
            <a:r>
              <a:rPr lang="en-US" sz="1300" dirty="0">
                <a:latin typeface="Maven Pro" pitchFamily="2" charset="77"/>
              </a:rPr>
              <a:t>If want to </a:t>
            </a:r>
            <a:r>
              <a:rPr lang="en-US" sz="1300" b="1" dirty="0">
                <a:latin typeface="Maven Pro" pitchFamily="2" charset="77"/>
              </a:rPr>
              <a:t>filter</a:t>
            </a:r>
            <a:r>
              <a:rPr lang="en-US" sz="1300" dirty="0">
                <a:latin typeface="Maven Pro" pitchFamily="2" charset="77"/>
              </a:rPr>
              <a:t> with </a:t>
            </a:r>
            <a:r>
              <a:rPr lang="en-US" sz="1300" b="1" dirty="0">
                <a:latin typeface="Maven Pro" pitchFamily="2" charset="77"/>
              </a:rPr>
              <a:t>Year</a:t>
            </a:r>
            <a:r>
              <a:rPr lang="en-US" sz="1300" dirty="0">
                <a:latin typeface="Maven Pro" pitchFamily="2" charset="77"/>
              </a:rPr>
              <a:t>, then drag </a:t>
            </a:r>
            <a:r>
              <a:rPr lang="en-US" sz="1300" b="1" dirty="0">
                <a:latin typeface="Maven Pro" pitchFamily="2" charset="77"/>
              </a:rPr>
              <a:t>Order date </a:t>
            </a:r>
            <a:r>
              <a:rPr lang="en-US" sz="1300" dirty="0">
                <a:latin typeface="Maven Pro" pitchFamily="2" charset="77"/>
              </a:rPr>
              <a:t>into </a:t>
            </a:r>
            <a:r>
              <a:rPr lang="en-US" sz="1300" b="1" dirty="0">
                <a:latin typeface="Maven Pro" pitchFamily="2" charset="77"/>
              </a:rPr>
              <a:t>Filters</a:t>
            </a:r>
            <a:r>
              <a:rPr lang="en-US" sz="1300" dirty="0">
                <a:latin typeface="Maven Pro" pitchFamily="2" charset="77"/>
              </a:rPr>
              <a:t> card.</a:t>
            </a:r>
            <a:endParaRPr lang="en-US" sz="1600" dirty="0">
              <a:latin typeface="Maven Pro" pitchFamily="2" charset="77"/>
            </a:endParaRPr>
          </a:p>
          <a:p>
            <a:pPr marL="114300" indent="0">
              <a:buNone/>
            </a:pPr>
            <a:endParaRPr lang="en-US" sz="1600" dirty="0"/>
          </a:p>
          <a:p>
            <a:pPr marL="114300" indent="0">
              <a:buNone/>
            </a:pPr>
            <a:endParaRPr lang="en-US" sz="1600" dirty="0"/>
          </a:p>
        </p:txBody>
      </p:sp>
      <p:pic>
        <p:nvPicPr>
          <p:cNvPr id="6" name="Picture 5" descr="Graphical user interface, application, map&#10;&#10;Description automatically generated">
            <a:extLst>
              <a:ext uri="{FF2B5EF4-FFF2-40B4-BE49-F238E27FC236}">
                <a16:creationId xmlns:a16="http://schemas.microsoft.com/office/drawing/2014/main" id="{FD9EB3D3-BE8F-F146-B9B4-47BD21C7EBD5}"/>
              </a:ext>
            </a:extLst>
          </p:cNvPr>
          <p:cNvPicPr>
            <a:picLocks noChangeAspect="1"/>
          </p:cNvPicPr>
          <p:nvPr/>
        </p:nvPicPr>
        <p:blipFill>
          <a:blip r:embed="rId7"/>
          <a:stretch>
            <a:fillRect/>
          </a:stretch>
        </p:blipFill>
        <p:spPr>
          <a:xfrm>
            <a:off x="1439291" y="1386348"/>
            <a:ext cx="6358337" cy="3751478"/>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0</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2</a:t>
            </a:fld>
            <a:endParaRPr lang="en" dirty="0">
              <a:latin typeface="Maven Pro" pitchFamily="2" charset="77"/>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To share or present your findings the easiest way is to just export an image.</a:t>
            </a:r>
            <a:endParaRPr sz="1900" b="0"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On any worksheet go to </a:t>
            </a:r>
            <a:r>
              <a:rPr lang="en" sz="1900" b="1" i="0" u="none" strike="noStrike" cap="none">
                <a:solidFill>
                  <a:schemeClr val="dk2"/>
                </a:solidFill>
                <a:latin typeface="Nunito"/>
                <a:ea typeface="Nunito"/>
                <a:cs typeface="Nunito"/>
                <a:sym typeface="Nunito"/>
              </a:rPr>
              <a:t>Worksheet &gt; Export &gt; Image…</a:t>
            </a:r>
            <a:endParaRPr sz="1900" b="1"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t will give you options on Titles, Legends, Captions, and more.</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want to show a collection of visualizations you will be better off </a:t>
            </a:r>
            <a:r>
              <a:rPr lang="en" sz="1900" b="0" i="0" u="sng" strike="noStrike" cap="none">
                <a:solidFill>
                  <a:schemeClr val="dk2"/>
                </a:solidFill>
                <a:latin typeface="Nunito"/>
                <a:ea typeface="Nunito"/>
                <a:cs typeface="Nunito"/>
                <a:sym typeface="Nunito"/>
              </a:rPr>
              <a:t>creating a dashboard and/or a story</a:t>
            </a:r>
            <a:r>
              <a:rPr lang="en" sz="1900" b="0" i="0" u="none" strike="noStrike" cap="none">
                <a:solidFill>
                  <a:schemeClr val="dk2"/>
                </a:solidFill>
                <a:latin typeface="Nunito"/>
                <a:ea typeface="Nunito"/>
                <a:cs typeface="Nunito"/>
                <a:sym typeface="Nunito"/>
              </a:rPr>
              <a:t> and exporting that.</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are collaborating with another Tableau user you can share the .twbx file or just a .twb if they have the data.</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publically for free.</a:t>
            </a:r>
            <a:endParaRPr sz="19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3</a:t>
            </a:fld>
            <a:endParaRPr lang="en" dirty="0">
              <a:latin typeface="Maven Pro" pitchFamily="2" charset="77"/>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4</a:t>
            </a:fld>
            <a:endParaRPr lang="en" dirty="0">
              <a:latin typeface="Maven Pro" pitchFamily="2" charset="77"/>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5</a:t>
            </a:fld>
            <a:endParaRPr lang="en" dirty="0">
              <a:latin typeface="Maven Pro" pitchFamily="2" charset="77"/>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6</a:t>
            </a:fld>
            <a:endParaRPr lang="en" dirty="0">
              <a:latin typeface="Maven Pro" pitchFamily="2" charset="77"/>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3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ere is Deception Island located?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7</a:t>
            </a:fld>
            <a:endParaRPr lang="en" dirty="0">
              <a:latin typeface="Maven Pro" pitchFamily="2" charset="77"/>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8</a:t>
            </a:fld>
            <a:endParaRPr lang="en" dirty="0">
              <a:latin typeface="Maven Pro" pitchFamily="2" charset="77"/>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9</a:t>
            </a:fld>
            <a:endParaRPr lang="en" dirty="0">
              <a:latin typeface="Maven Pro" pitchFamily="2" charset="77"/>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0</a:t>
            </a:fld>
            <a:endParaRPr lang="en" dirty="0">
              <a:latin typeface="Maven Pro" pitchFamily="2" charset="77"/>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719</TotalTime>
  <Words>2527</Words>
  <Application>Microsoft Macintosh PowerPoint</Application>
  <PresentationFormat>On-screen Show (16:9)</PresentationFormat>
  <Paragraphs>325</Paragraphs>
  <Slides>51</Slides>
  <Notes>5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8" baseType="lpstr">
      <vt:lpstr>Tw Cen MT Condensed</vt:lpstr>
      <vt:lpstr>Maven Pro</vt:lpstr>
      <vt:lpstr>Nunito</vt:lpstr>
      <vt:lpstr>Calibri</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Example </vt:lpstr>
      <vt:lpstr>Ranking values are ordered by size (descending or ascending)</vt:lpstr>
      <vt:lpstr>Ranking Example </vt:lpstr>
      <vt:lpstr>Part to Whole  values represent parts (ratios) of a whole </vt:lpstr>
      <vt:lpstr>Pie Chart Example </vt:lpstr>
      <vt:lpstr>PowerPoint Presentation</vt:lpstr>
      <vt:lpstr>Difference  between two sets of values</vt:lpstr>
      <vt:lpstr>Difference Example </vt:lpstr>
      <vt:lpstr>Distribution count of values per interval along quantitative scale</vt:lpstr>
      <vt:lpstr>Line Distribution Example </vt:lpstr>
      <vt:lpstr>Correlation Comparison of two paired sets of values to determine if there is a relationship between them</vt:lpstr>
      <vt:lpstr>Scatter Plot Example </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30</cp:revision>
  <cp:lastPrinted>2019-11-12T18:21:57Z</cp:lastPrinted>
  <dcterms:modified xsi:type="dcterms:W3CDTF">2021-11-08T22:43:48Z</dcterms:modified>
</cp:coreProperties>
</file>